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6"/>
  </p:notesMasterIdLst>
  <p:handoutMasterIdLst>
    <p:handoutMasterId r:id="rId17"/>
  </p:handoutMasterIdLst>
  <p:sldIdLst>
    <p:sldId id="311" r:id="rId2"/>
    <p:sldId id="363" r:id="rId3"/>
    <p:sldId id="340" r:id="rId4"/>
    <p:sldId id="366" r:id="rId5"/>
    <p:sldId id="348" r:id="rId6"/>
    <p:sldId id="359" r:id="rId7"/>
    <p:sldId id="362" r:id="rId8"/>
    <p:sldId id="367" r:id="rId9"/>
    <p:sldId id="364" r:id="rId10"/>
    <p:sldId id="351" r:id="rId11"/>
    <p:sldId id="356" r:id="rId12"/>
    <p:sldId id="361" r:id="rId13"/>
    <p:sldId id="365" r:id="rId14"/>
    <p:sldId id="360" r:id="rId15"/>
  </p:sldIdLst>
  <p:sldSz cx="9906000" cy="6858000" type="A4"/>
  <p:notesSz cx="6896100" cy="10033000"/>
  <p:custDataLst>
    <p:tags r:id="rId1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1920" y="-3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2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gi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0508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400508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se-width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odulatio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W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60" name="Picture 4" descr="http://www.arduino.cc/en/uploads/Tutorial/pwm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3810000" cy="4171951"/>
          </a:xfrm>
          <a:prstGeom prst="rect">
            <a:avLst/>
          </a:prstGeom>
          <a:noFill/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96869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latin typeface="+mj-lt"/>
                <a:cs typeface="Courier New" pitchFamily="49" charset="0"/>
              </a:rPr>
              <a:t>Częstotliwość sygnału PWM na </a:t>
            </a:r>
            <a:r>
              <a:rPr lang="pl-PL" sz="2000" dirty="0" err="1" smtClean="0">
                <a:latin typeface="+mj-lt"/>
                <a:cs typeface="Courier New" pitchFamily="49" charset="0"/>
              </a:rPr>
              <a:t>Arduino</a:t>
            </a:r>
            <a:r>
              <a:rPr lang="pl-PL" sz="2000" dirty="0" smtClean="0">
                <a:latin typeface="+mj-lt"/>
                <a:cs typeface="Courier New" pitchFamily="49" charset="0"/>
              </a:rPr>
              <a:t> to najczęściej około 490 Hz.</a:t>
            </a:r>
            <a:endParaRPr lang="pl-PL" sz="2000" dirty="0" smtClean="0">
              <a:latin typeface="+mj-lt"/>
              <a:cs typeface="Arial" pitchFamily="34" charset="0"/>
            </a:endParaRPr>
          </a:p>
        </p:txBody>
      </p:sp>
      <p:pic>
        <p:nvPicPr>
          <p:cNvPr id="301062" name="Picture 6" descr="http://garretlab.web.fc2.com/en/arduino/inside/arduino/wiring_analog.c/fast_pwm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350" y="2564880"/>
            <a:ext cx="5169030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6659" name="Picture 3" descr="C:\git\robocap\arduino\wks2016\pwm_bb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52500" y="1399622"/>
            <a:ext cx="7388539" cy="4477718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665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265460" y="386106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93200" y="23488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0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dirty="0" err="1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&gt; 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setu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inMod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OUTPU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begi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960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loo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char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pl-PL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tring s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do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vailab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read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s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+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whi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!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808080"/>
                </a:solidFill>
                <a:latin typeface="Courier New"/>
                <a:ea typeface="Times New Roman"/>
                <a:cs typeface="Times New Roman"/>
              </a:rPr>
              <a:t>'\n'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toIn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nalogWrit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rintl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2400" dirty="0" smtClean="0">
                <a:latin typeface="Calibri"/>
                <a:ea typeface="Calibri"/>
                <a:cs typeface="Times New Roman"/>
              </a:rPr>
              <a:t> </a:t>
            </a: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odczytanie jednego zna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availabl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prawdza ilość znaków do odczytania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Na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203" name="Picture 3" descr="C:\Users\jczas\Downloads\nanopdf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39460"/>
            <a:ext cx="7308793" cy="516993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653170"/>
            <a:ext cx="928929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.baeyens.it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lorowanie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zupełniani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kładni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973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4460" y="1183544"/>
            <a:ext cx="7561050" cy="346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797190"/>
            <a:ext cx="921728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62875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160890" y="1628750"/>
            <a:ext cx="2468913" cy="2880400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16524" y="1628750"/>
            <a:ext cx="2817126" cy="28803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443255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6179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097020" y="1412720"/>
            <a:ext cx="4177978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7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56320" y="1628750"/>
            <a:ext cx="60488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łyty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Na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rt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</a:t>
            </a:r>
            <a:r>
              <a:rPr lang="de-DE" sz="20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yp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cesora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Tmega168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erify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pload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Sketc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4468005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496520" y="532260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5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745110" y="1124680"/>
            <a:ext cx="4066025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6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21190" y="4653170"/>
            <a:ext cx="28194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1</Words>
  <Application>Microsoft Office PowerPoint</Application>
  <PresentationFormat>A4 Paper (210x297 mm)</PresentationFormat>
  <Paragraphs>167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Blank</vt:lpstr>
      <vt:lpstr>think-cell Slide</vt:lpstr>
      <vt:lpstr>Arduino Software (IDE) </vt:lpstr>
      <vt:lpstr>Arduino Nano</vt:lpstr>
      <vt:lpstr>Arduino IDE</vt:lpstr>
      <vt:lpstr>Eclipse Arduino IDE</vt:lpstr>
      <vt:lpstr>Arduino – struktura „main”</vt:lpstr>
      <vt:lpstr>Arduino – instalacja drivera</vt:lpstr>
      <vt:lpstr>Arduino IDE – kompilacja i wgrywanie</vt:lpstr>
      <vt:lpstr>Eclipse Arduino IDE – kompilacja i wgrywanie</vt:lpstr>
      <vt:lpstr>Breadboard – płytka do prototypowania</vt:lpstr>
      <vt:lpstr>Arduino – cyfrowe wyjście</vt:lpstr>
      <vt:lpstr>Arduino – cyfrowe wyjście</vt:lpstr>
      <vt:lpstr>Arduino – Pulse-width modulation (PWM)</vt:lpstr>
      <vt:lpstr>Arduino – PWM</vt:lpstr>
      <vt:lpstr>Arduino –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595</cp:revision>
  <dcterms:created xsi:type="dcterms:W3CDTF">2014-10-21T19:55:20Z</dcterms:created>
  <dcterms:modified xsi:type="dcterms:W3CDTF">2016-06-29T11:37:15Z</dcterms:modified>
</cp:coreProperties>
</file>